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bin" ContentType="application/vnd.openxmlformats-officedocument.oleObject"/>
  <Default Extension="vml" ContentType="application/vnd.openxmlformats-officedocument.vmlDrawin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slides/slide216.xml" ContentType="application/vnd.openxmlformats-officedocument.presentationml.slide+xml"/>
  <Override PartName="/ppt/tags/tag1457.xml" ContentType="application/vnd.openxmlformats-officedocument.presentationml.tags+xml"/>
  <Override PartName="/ppt/tags/tag1452.xml" ContentType="application/vnd.openxmlformats-officedocument.presentationml.tags+xml"/>
  <Override PartName="/ppt/tags/tag1473.xml" ContentType="application/vnd.openxmlformats-officedocument.presentationml.tags+xml"/>
  <Override PartName="/ppt/tags/tag1478.xml" ContentType="application/vnd.openxmlformats-officedocument.presentationml.tags+xml"/>
  <Override PartName="/ppt/tags/tag1494.xml" ContentType="application/vnd.openxmlformats-officedocument.presentationml.tags+xml"/>
  <Override PartName="/ppt/notesSlides/notesSlide216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1438.xml" ContentType="application/vnd.openxmlformats-officedocument.presentationml.tags+xml"/>
  <Override PartName="/ppt/tags/tag1433.xml" ContentType="application/vnd.openxmlformats-officedocument.presentationml.tags+xml"/>
  <Override PartName="/ppt/tags/tag1447.xml" ContentType="application/vnd.openxmlformats-officedocument.presentationml.tags+xml"/>
  <Override PartName="/ppt/tags/tag1460.xml" ContentType="application/vnd.openxmlformats-officedocument.presentationml.tags+xml"/>
  <Override PartName="/ppt/tags/tag1442.xml" ContentType="application/vnd.openxmlformats-officedocument.presentationml.tags+xml"/>
  <Override PartName="/ppt/tags/tag1455.xml" ContentType="application/vnd.openxmlformats-officedocument.presentationml.tags+xml"/>
  <Override PartName="/ppt/tags/tag1463.xml" ContentType="application/vnd.openxmlformats-officedocument.presentationml.tags+xml"/>
  <Override PartName="/ppt/tags/tag1468.xml" ContentType="application/vnd.openxmlformats-officedocument.presentationml.tags+xml"/>
  <Override PartName="/ppt/tags/tag1471.xml" ContentType="application/vnd.openxmlformats-officedocument.presentationml.tags+xml"/>
  <Override PartName="/ppt/tags/tag1476.xml" ContentType="application/vnd.openxmlformats-officedocument.presentationml.tags+xml"/>
  <Override PartName="/ppt/tags/tag1484.xml" ContentType="application/vnd.openxmlformats-officedocument.presentationml.tags+xml"/>
  <Override PartName="/ppt/tags/tag1489.xml" ContentType="application/vnd.openxmlformats-officedocument.presentationml.tags+xml"/>
  <Override PartName="/ppt/tags/tag1497.xml" ContentType="application/vnd.openxmlformats-officedocument.presentationml.tags+xml"/>
  <Override PartName="/ppt/tags/tag1436.xml" ContentType="application/vnd.openxmlformats-officedocument.presentationml.tags+xml"/>
  <Override PartName="/ppt/tags/tag1492.xml" ContentType="application/vnd.openxmlformats-officedocument.presentationml.tags+xml"/>
  <Override PartName="/ppt/tags/tag1450.xml" ContentType="application/vnd.openxmlformats-officedocument.presentationml.tags+xml"/>
  <Override PartName="/ppt/tags/tag1445.xml" ContentType="application/vnd.openxmlformats-officedocument.presentationml.tags+xml"/>
  <Override PartName="/ppt/tags/tag1453.xml" ContentType="application/vnd.openxmlformats-officedocument.presentationml.tags+xml"/>
  <Override PartName="/ppt/tags/tag1458.xml" ContentType="application/vnd.openxmlformats-officedocument.presentationml.tags+xml"/>
  <Override PartName="/ppt/tags/tag1461.xml" ContentType="application/vnd.openxmlformats-officedocument.presentationml.tags+xml"/>
  <Override PartName="/ppt/tags/tag1466.xml" ContentType="application/vnd.openxmlformats-officedocument.presentationml.tags+xml"/>
  <Override PartName="/ppt/tags/tag1474.xml" ContentType="application/vnd.openxmlformats-officedocument.presentationml.tags+xml"/>
  <Override PartName="/ppt/tags/tag1479.xml" ContentType="application/vnd.openxmlformats-officedocument.presentationml.tags+xml"/>
  <Override PartName="/ppt/tags/tag1487.xml" ContentType="application/vnd.openxmlformats-officedocument.presentationml.tags+xml"/>
  <Override PartName="/ppt/tags/tag1495.xml" ContentType="application/vnd.openxmlformats-officedocument.presentationml.tags+xml"/>
  <Override PartName="/ppt/tags/tag1439.xml" ContentType="application/vnd.openxmlformats-officedocument.presentationml.tags+xml"/>
  <Override PartName="/ppt/tags/tag1482.xml" ContentType="application/vnd.openxmlformats-officedocument.presentationml.tags+xml"/>
  <Override PartName="/ppt/tags/tag1434.xml" ContentType="application/vnd.openxmlformats-officedocument.presentationml.tags+xml"/>
  <Override PartName="/ppt/tags/tag1443.xml" ContentType="application/vnd.openxmlformats-officedocument.presentationml.tags+xml"/>
  <Override PartName="/ppt/tags/tag1448.xml" ContentType="application/vnd.openxmlformats-officedocument.presentationml.tags+xml"/>
  <Override PartName="/ppt/tags/tag1456.xml" ContentType="application/vnd.openxmlformats-officedocument.presentationml.tags+xml"/>
  <Override PartName="/ppt/tags/tag1464.xml" ContentType="application/vnd.openxmlformats-officedocument.presentationml.tags+xml"/>
  <Override PartName="/ppt/tags/tag1469.xml" ContentType="application/vnd.openxmlformats-officedocument.presentationml.tags+xml"/>
  <Override PartName="/ppt/tags/tag1477.xml" ContentType="application/vnd.openxmlformats-officedocument.presentationml.tags+xml"/>
  <Override PartName="/ppt/tags/tag1490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451.xml" ContentType="application/vnd.openxmlformats-officedocument.presentationml.tags+xml"/>
  <Override PartName="/ppt/tags/tag1472.xml" ContentType="application/vnd.openxmlformats-officedocument.presentationml.tags+xml"/>
  <Override PartName="/ppt/tags/tag1485.xml" ContentType="application/vnd.openxmlformats-officedocument.presentationml.tags+xml"/>
  <Override PartName="/ppt/tags/tag1493.xml" ContentType="application/vnd.openxmlformats-officedocument.presentationml.tags+xml"/>
  <Override PartName="/ppt/tags/tag1437.xml" ContentType="application/vnd.openxmlformats-officedocument.presentationml.tags+xml"/>
  <Override PartName="/ppt/tags/tag1446.xml" ContentType="application/vnd.openxmlformats-officedocument.presentationml.tags+xml"/>
  <Override PartName="/ppt/tags/tag1454.xml" ContentType="application/vnd.openxmlformats-officedocument.presentationml.tags+xml"/>
  <Override PartName="/ppt/tags/tag1459.xml" ContentType="application/vnd.openxmlformats-officedocument.presentationml.tags+xml"/>
  <Override PartName="/ppt/tags/tag1467.xml" ContentType="application/vnd.openxmlformats-officedocument.presentationml.tags+xml"/>
  <Override PartName="/ppt/tags/tag1480.xml" ContentType="application/vnd.openxmlformats-officedocument.presentationml.tags+xml"/>
  <Override PartName="/ppt/tags/tag1488.xml" ContentType="application/vnd.openxmlformats-officedocument.presentationml.tags+xml"/>
  <Override PartName="/ppt/tags/tag1441.xml" ContentType="application/vnd.openxmlformats-officedocument.presentationml.tags+xml"/>
  <Override PartName="/ppt/tags/tag1462.xml" ContentType="application/vnd.openxmlformats-officedocument.presentationml.tags+xml"/>
  <Override PartName="/ppt/tags/tag1475.xml" ContentType="application/vnd.openxmlformats-officedocument.presentationml.tags+xml"/>
  <Override PartName="/ppt/tags/tag1483.xml" ContentType="application/vnd.openxmlformats-officedocument.presentationml.tags+xml"/>
  <Override PartName="/ppt/tags/tag1491.xml" ContentType="application/vnd.openxmlformats-officedocument.presentationml.tags+xml"/>
  <Override PartName="/ppt/tags/tag1496.xml" ContentType="application/vnd.openxmlformats-officedocument.presentationml.tags+xml"/>
  <Override PartName="/ppt/tags/tag1435.xml" ContentType="application/vnd.openxmlformats-officedocument.presentationml.tags+xml"/>
  <Override PartName="/ppt/tags/tag1440.xml" ContentType="application/vnd.openxmlformats-officedocument.presentationml.tags+xml"/>
  <Override PartName="/ppt/tags/tag1444.xml" ContentType="application/vnd.openxmlformats-officedocument.presentationml.tags+xml"/>
  <Override PartName="/ppt/tags/tag1449.xml" ContentType="application/vnd.openxmlformats-officedocument.presentationml.tags+xml"/>
  <Override PartName="/ppt/tags/tag1470.xml" ContentType="application/vnd.openxmlformats-officedocument.presentationml.tags+xml"/>
  <Override PartName="/ppt/tags/tag1465.xml" ContentType="application/vnd.openxmlformats-officedocument.presentationml.tags+xml"/>
  <Override PartName="/ppt/tags/tag1481.xml" ContentType="application/vnd.openxmlformats-officedocument.presentationml.tags+xml"/>
  <Override PartName="/ppt/tags/tag1486.xml" ContentType="application/vnd.openxmlformats-officedocument.presentationml.tags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506" r:id="rId219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openxmlformats.org/officeDocument/2006/relationships/slide" Target="/ppt/slides/slide216.xml" Id="rId219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20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16.xml.rels>&#65279;<?xml version="1.0" encoding="utf-8"?><Relationships xmlns="http://schemas.openxmlformats.org/package/2006/relationships"><Relationship Type="http://schemas.openxmlformats.org/officeDocument/2006/relationships/slide" Target="/ppt/slides/slide216.xml" Id="rId2" /><Relationship Type="http://schemas.openxmlformats.org/officeDocument/2006/relationships/notesMaster" Target="/ppt/notesMasters/notesMaster1.xml" Id="rId1" /></Relationships>
</file>

<file path=ppt/notesSlides/notesSlide2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529137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16.xml.rels>&#65279;<?xml version="1.0" encoding="utf-8"?><Relationships xmlns="http://schemas.openxmlformats.org/package/2006/relationships"><Relationship Type="http://schemas.openxmlformats.org/officeDocument/2006/relationships/tags" Target="/ppt/tags/tag1457.xml" Id="rId26" /><Relationship Type="http://schemas.openxmlformats.org/officeDocument/2006/relationships/tags" Target="/ppt/tags/tag1452.xml" Id="rId21" /><Relationship Type="http://schemas.openxmlformats.org/officeDocument/2006/relationships/tags" Target="/ppt/tags/tag1473.xml" Id="rId42" /><Relationship Type="http://schemas.openxmlformats.org/officeDocument/2006/relationships/tags" Target="/ppt/tags/tag1478.xml" Id="rId47" /><Relationship Type="http://schemas.openxmlformats.org/officeDocument/2006/relationships/tags" Target="/ppt/tags/tag1494.xml" Id="rId63" /><Relationship Type="http://schemas.openxmlformats.org/officeDocument/2006/relationships/notesSlide" Target="/ppt/notesSlides/notesSlide216.xml" Id="rId68" /><Relationship Type="http://schemas.openxmlformats.org/officeDocument/2006/relationships/tags" Target="/ppt/tags/tag1438.xml" Id="rId7" /><Relationship Type="http://schemas.openxmlformats.org/officeDocument/2006/relationships/tags" Target="/ppt/tags/tag1433.xml" Id="rId2" /><Relationship Type="http://schemas.openxmlformats.org/officeDocument/2006/relationships/tags" Target="/ppt/tags/tag1447.xml" Id="rId16" /><Relationship Type="http://schemas.openxmlformats.org/officeDocument/2006/relationships/tags" Target="/ppt/tags/tag1460.xml" Id="rId29" /><Relationship Type="http://schemas.openxmlformats.org/officeDocument/2006/relationships/tags" Target="/ppt/tags/tag1442.xml" Id="rId11" /><Relationship Type="http://schemas.openxmlformats.org/officeDocument/2006/relationships/tags" Target="/ppt/tags/tag1455.xml" Id="rId24" /><Relationship Type="http://schemas.openxmlformats.org/officeDocument/2006/relationships/tags" Target="/ppt/tags/tag1463.xml" Id="rId32" /><Relationship Type="http://schemas.openxmlformats.org/officeDocument/2006/relationships/tags" Target="/ppt/tags/tag1468.xml" Id="rId37" /><Relationship Type="http://schemas.openxmlformats.org/officeDocument/2006/relationships/tags" Target="/ppt/tags/tag1471.xml" Id="rId40" /><Relationship Type="http://schemas.openxmlformats.org/officeDocument/2006/relationships/tags" Target="/ppt/tags/tag1476.xml" Id="rId45" /><Relationship Type="http://schemas.openxmlformats.org/officeDocument/2006/relationships/tags" Target="/ppt/tags/tag1484.xml" Id="rId53" /><Relationship Type="http://schemas.openxmlformats.org/officeDocument/2006/relationships/tags" Target="/ppt/tags/tag1489.xml" Id="rId58" /><Relationship Type="http://schemas.openxmlformats.org/officeDocument/2006/relationships/tags" Target="/ppt/tags/tag1497.xml" Id="rId66" /><Relationship Type="http://schemas.openxmlformats.org/officeDocument/2006/relationships/tags" Target="/ppt/tags/tag1436.xml" Id="rId5" /><Relationship Type="http://schemas.openxmlformats.org/officeDocument/2006/relationships/tags" Target="/ppt/tags/tag1492.xml" Id="rId61" /><Relationship Type="http://schemas.openxmlformats.org/officeDocument/2006/relationships/tags" Target="/ppt/tags/tag1450.xml" Id="rId19" /><Relationship Type="http://schemas.openxmlformats.org/officeDocument/2006/relationships/tags" Target="/ppt/tags/tag1445.xml" Id="rId14" /><Relationship Type="http://schemas.openxmlformats.org/officeDocument/2006/relationships/tags" Target="/ppt/tags/tag1453.xml" Id="rId22" /><Relationship Type="http://schemas.openxmlformats.org/officeDocument/2006/relationships/tags" Target="/ppt/tags/tag1458.xml" Id="rId27" /><Relationship Type="http://schemas.openxmlformats.org/officeDocument/2006/relationships/tags" Target="/ppt/tags/tag1461.xml" Id="rId30" /><Relationship Type="http://schemas.openxmlformats.org/officeDocument/2006/relationships/tags" Target="/ppt/tags/tag1466.xml" Id="rId35" /><Relationship Type="http://schemas.openxmlformats.org/officeDocument/2006/relationships/tags" Target="/ppt/tags/tag1474.xml" Id="rId43" /><Relationship Type="http://schemas.openxmlformats.org/officeDocument/2006/relationships/tags" Target="/ppt/tags/tag1479.xml" Id="rId48" /><Relationship Type="http://schemas.openxmlformats.org/officeDocument/2006/relationships/tags" Target="/ppt/tags/tag1487.xml" Id="rId56" /><Relationship Type="http://schemas.openxmlformats.org/officeDocument/2006/relationships/tags" Target="/ppt/tags/tag1495.xml" Id="rId64" /><Relationship Type="http://schemas.openxmlformats.org/officeDocument/2006/relationships/oleObject" Target="/ppt/embeddings/oleObject220.bin" Id="rId69" /><Relationship Type="http://schemas.openxmlformats.org/officeDocument/2006/relationships/tags" Target="/ppt/tags/tag1439.xml" Id="rId8" /><Relationship Type="http://schemas.openxmlformats.org/officeDocument/2006/relationships/tags" Target="/ppt/tags/tag1482.xml" Id="rId51" /><Relationship Type="http://schemas.openxmlformats.org/officeDocument/2006/relationships/tags" Target="/ppt/tags/tag1434.xml" Id="rId3" /><Relationship Type="http://schemas.openxmlformats.org/officeDocument/2006/relationships/tags" Target="/ppt/tags/tag1443.xml" Id="rId12" /><Relationship Type="http://schemas.openxmlformats.org/officeDocument/2006/relationships/tags" Target="/ppt/tags/tag1448.xml" Id="rId17" /><Relationship Type="http://schemas.openxmlformats.org/officeDocument/2006/relationships/tags" Target="/ppt/tags/tag1456.xml" Id="rId25" /><Relationship Type="http://schemas.openxmlformats.org/officeDocument/2006/relationships/tags" Target="/ppt/tags/tag1464.xml" Id="rId33" /><Relationship Type="http://schemas.openxmlformats.org/officeDocument/2006/relationships/tags" Target="/ppt/tags/tag1469.xml" Id="rId38" /><Relationship Type="http://schemas.openxmlformats.org/officeDocument/2006/relationships/tags" Target="/ppt/tags/tag1477.xml" Id="rId46" /><Relationship Type="http://schemas.openxmlformats.org/officeDocument/2006/relationships/tags" Target="/ppt/tags/tag1490.xml" Id="rId59" /><Relationship Type="http://schemas.openxmlformats.org/officeDocument/2006/relationships/slideLayout" Target="/ppt/slideLayouts/slideLayout5.xml" Id="rId67" /><Relationship Type="http://schemas.openxmlformats.org/officeDocument/2006/relationships/tags" Target="/ppt/tags/tag1451.xml" Id="rId20" /><Relationship Type="http://schemas.openxmlformats.org/officeDocument/2006/relationships/tags" Target="/ppt/tags/tag1472.xml" Id="rId41" /><Relationship Type="http://schemas.openxmlformats.org/officeDocument/2006/relationships/tags" Target="/ppt/tags/tag1485.xml" Id="rId54" /><Relationship Type="http://schemas.openxmlformats.org/officeDocument/2006/relationships/tags" Target="/ppt/tags/tag1493.xml" Id="rId62" /><Relationship Type="http://schemas.openxmlformats.org/officeDocument/2006/relationships/image" Target="/ppt/media/image4.emf" Id="rId70" /><Relationship Type="http://schemas.openxmlformats.org/officeDocument/2006/relationships/vmlDrawing" Target="/ppt/drawings/vmlDrawing220.vml" Id="rId1" /><Relationship Type="http://schemas.openxmlformats.org/officeDocument/2006/relationships/tags" Target="/ppt/tags/tag1437.xml" Id="rId6" /><Relationship Type="http://schemas.openxmlformats.org/officeDocument/2006/relationships/tags" Target="/ppt/tags/tag1446.xml" Id="rId15" /><Relationship Type="http://schemas.openxmlformats.org/officeDocument/2006/relationships/tags" Target="/ppt/tags/tag1454.xml" Id="rId23" /><Relationship Type="http://schemas.openxmlformats.org/officeDocument/2006/relationships/tags" Target="/ppt/tags/tag1459.xml" Id="rId28" /><Relationship Type="http://schemas.openxmlformats.org/officeDocument/2006/relationships/tags" Target="/ppt/tags/tag1467.xml" Id="rId36" /><Relationship Type="http://schemas.openxmlformats.org/officeDocument/2006/relationships/tags" Target="/ppt/tags/tag1480.xml" Id="rId49" /><Relationship Type="http://schemas.openxmlformats.org/officeDocument/2006/relationships/tags" Target="/ppt/tags/tag1488.xml" Id="rId57" /><Relationship Type="http://schemas.openxmlformats.org/officeDocument/2006/relationships/tags" Target="/ppt/tags/tag1441.xml" Id="rId10" /><Relationship Type="http://schemas.openxmlformats.org/officeDocument/2006/relationships/tags" Target="/ppt/tags/tag1462.xml" Id="rId31" /><Relationship Type="http://schemas.openxmlformats.org/officeDocument/2006/relationships/tags" Target="/ppt/tags/tag1475.xml" Id="rId44" /><Relationship Type="http://schemas.openxmlformats.org/officeDocument/2006/relationships/tags" Target="/ppt/tags/tag1483.xml" Id="rId52" /><Relationship Type="http://schemas.openxmlformats.org/officeDocument/2006/relationships/tags" Target="/ppt/tags/tag1491.xml" Id="rId60" /><Relationship Type="http://schemas.openxmlformats.org/officeDocument/2006/relationships/tags" Target="/ppt/tags/tag1496.xml" Id="rId65" /><Relationship Type="http://schemas.openxmlformats.org/officeDocument/2006/relationships/tags" Target="/ppt/tags/tag1435.xml" Id="rId4" /><Relationship Type="http://schemas.openxmlformats.org/officeDocument/2006/relationships/tags" Target="/ppt/tags/tag1440.xml" Id="rId9" /><Relationship Type="http://schemas.openxmlformats.org/officeDocument/2006/relationships/tags" Target="/ppt/tags/tag1444.xml" Id="rId13" /><Relationship Type="http://schemas.openxmlformats.org/officeDocument/2006/relationships/tags" Target="/ppt/tags/tag1449.xml" Id="rId18" /><Relationship Type="http://schemas.openxmlformats.org/officeDocument/2006/relationships/tags" Target="/ppt/tags/tag1470.xml" Id="rId39" /><Relationship Type="http://schemas.openxmlformats.org/officeDocument/2006/relationships/tags" Target="/ppt/tags/tag1465.xml" Id="rId34" /><Relationship Type="http://schemas.openxmlformats.org/officeDocument/2006/relationships/tags" Target="/ppt/tags/tag1481.xml" Id="rId50" /><Relationship Type="http://schemas.openxmlformats.org/officeDocument/2006/relationships/tags" Target="/ppt/tags/tag1486.xml" Id="rId55" /></Relationships>
</file>

<file path=ppt/slides/slide2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9417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39" name="think-cell 幻灯片" r:id="rId69" imgW="349" imgH="350" progId="TCLayout.ActiveDocument.1">
                  <p:embed/>
                </p:oleObj>
              </mc:Choice>
              <mc:Fallback>
                <p:oleObj name="think-cell 幻灯片" r:id="rId69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Structure, composition: </a:t>
            </a:r>
            <a:r>
              <a:rPr lang="en-US" altLang="en-US" dirty="0"/>
              <a:t>Mekko (% axis)</a:t>
            </a:r>
            <a:endParaRPr lang="en-US" dirty="0"/>
          </a:p>
        </p:txBody>
      </p:sp>
      <p:sp>
        <p:nvSpPr>
          <p:cNvPr id="2" name="Rechteck 249">
            <a:extLst>
              <a:ext uri="{FF2B5EF4-FFF2-40B4-BE49-F238E27FC236}">
                <a16:creationId xmlns:a16="http://schemas.microsoft.com/office/drawing/2014/main" id="{F806D264-DBD1-49FD-1D86-B19650CEEE1B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5735638" y="4995863"/>
            <a:ext cx="1357313" cy="42545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hteck 247">
            <a:extLst>
              <a:ext uri="{FF2B5EF4-FFF2-40B4-BE49-F238E27FC236}">
                <a16:creationId xmlns:a16="http://schemas.microsoft.com/office/drawing/2014/main" id="{798EEB47-969D-6368-0D29-46990754583B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5735638" y="3536950"/>
            <a:ext cx="1357313" cy="1458913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CEEBC735-F521-8BD3-2810-824D2D8E5A16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735638" y="2322513"/>
            <a:ext cx="1357313" cy="121443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7" name="Rechteck 285">
            <a:extLst>
              <a:ext uri="{FF2B5EF4-FFF2-40B4-BE49-F238E27FC236}">
                <a16:creationId xmlns:a16="http://schemas.microsoft.com/office/drawing/2014/main" id="{C438D7F2-A4AF-0AC5-F569-D813CEE5AD1E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5208588" y="5140325"/>
            <a:ext cx="527050" cy="280988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231">
            <a:extLst>
              <a:ext uri="{FF2B5EF4-FFF2-40B4-BE49-F238E27FC236}">
                <a16:creationId xmlns:a16="http://schemas.microsoft.com/office/drawing/2014/main" id="{78A1AADA-1FB3-0AE3-3B9C-4D9287B84FC3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5208588" y="2792413"/>
            <a:ext cx="527050" cy="2347913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5171003F-FC6D-FE19-3697-072E910C3510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5208588" y="2322513"/>
            <a:ext cx="527050" cy="4699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2" name="Rechteck 251">
            <a:extLst>
              <a:ext uri="{FF2B5EF4-FFF2-40B4-BE49-F238E27FC236}">
                <a16:creationId xmlns:a16="http://schemas.microsoft.com/office/drawing/2014/main" id="{610C7FA3-047E-965F-2931-BE4B62A7ED41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027363" y="5119688"/>
            <a:ext cx="2181225" cy="301625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225">
            <a:extLst>
              <a:ext uri="{FF2B5EF4-FFF2-40B4-BE49-F238E27FC236}">
                <a16:creationId xmlns:a16="http://schemas.microsoft.com/office/drawing/2014/main" id="{2EE2B06D-F11C-890A-D15C-97B767AF8641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3027363" y="3532188"/>
            <a:ext cx="2181225" cy="158750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D9D59DB0-C39A-0121-D314-93AF605B7339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3027363" y="2322513"/>
            <a:ext cx="2181225" cy="120967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5" name="Rechteck 219">
            <a:extLst>
              <a:ext uri="{FF2B5EF4-FFF2-40B4-BE49-F238E27FC236}">
                <a16:creationId xmlns:a16="http://schemas.microsoft.com/office/drawing/2014/main" id="{4E257E77-E836-C554-B904-CB20F458A064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1031875" y="4967288"/>
            <a:ext cx="1995488" cy="454025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216">
            <a:extLst>
              <a:ext uri="{FF2B5EF4-FFF2-40B4-BE49-F238E27FC236}">
                <a16:creationId xmlns:a16="http://schemas.microsoft.com/office/drawing/2014/main" id="{656A3104-8381-6A99-1657-48FFD0780A24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1031875" y="3438525"/>
            <a:ext cx="1995488" cy="1528763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0D77D4C6-2AA9-7CB7-4D08-F87D777EF245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1031875" y="2322513"/>
            <a:ext cx="1995488" cy="111601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cxnSp>
        <p:nvCxnSpPr>
          <p:cNvPr id="20" name="Gerade Verbindung 194">
            <a:extLst>
              <a:ext uri="{FF2B5EF4-FFF2-40B4-BE49-F238E27FC236}">
                <a16:creationId xmlns:a16="http://schemas.microsoft.com/office/drawing/2014/main" id="{84CBBE0D-25D0-9D2D-3BC8-13820F0D6784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gray">
          <a:xfrm>
            <a:off x="1027113" y="5421313"/>
            <a:ext cx="6070600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53">
            <a:extLst>
              <a:ext uri="{FF2B5EF4-FFF2-40B4-BE49-F238E27FC236}">
                <a16:creationId xmlns:a16="http://schemas.microsoft.com/office/drawing/2014/main" id="{457278AC-9688-3835-6F78-F7F8FCAA34FB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gray">
          <a:xfrm>
            <a:off x="1031875" y="2317750"/>
            <a:ext cx="0" cy="310832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253A511A-A768-03C5-A7BC-8EEA161B9349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 flipH="1">
            <a:off x="973138" y="5111750"/>
            <a:ext cx="587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54">
            <a:extLst>
              <a:ext uri="{FF2B5EF4-FFF2-40B4-BE49-F238E27FC236}">
                <a16:creationId xmlns:a16="http://schemas.microsoft.com/office/drawing/2014/main" id="{EEFAED54-17D7-8156-6189-40FD9BD2F918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gray">
          <a:xfrm flipH="1">
            <a:off x="973138" y="5421313"/>
            <a:ext cx="587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59">
            <a:extLst>
              <a:ext uri="{FF2B5EF4-FFF2-40B4-BE49-F238E27FC236}">
                <a16:creationId xmlns:a16="http://schemas.microsoft.com/office/drawing/2014/main" id="{AC700205-03F6-6900-779E-C44AC9517DD4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gray">
          <a:xfrm flipH="1">
            <a:off x="973138" y="3871913"/>
            <a:ext cx="587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55509ED8-E8A2-421E-1C0B-EE485BDB83D3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 flipH="1">
            <a:off x="973138" y="3562350"/>
            <a:ext cx="587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64">
            <a:extLst>
              <a:ext uri="{FF2B5EF4-FFF2-40B4-BE49-F238E27FC236}">
                <a16:creationId xmlns:a16="http://schemas.microsoft.com/office/drawing/2014/main" id="{8DFE4066-C167-2B7D-DD2C-4BD524ED236B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gray">
          <a:xfrm flipH="1">
            <a:off x="973138" y="2322513"/>
            <a:ext cx="587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100E90DD-06DE-CD45-C7FB-0A1FC7E471F6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 flipH="1">
            <a:off x="973138" y="2632075"/>
            <a:ext cx="587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59F68EB8-F6F4-612E-811C-EE2488DDBCC2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 flipH="1">
            <a:off x="973138" y="2941638"/>
            <a:ext cx="587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9F312F92-8322-691A-4468-17A639343C13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 flipH="1">
            <a:off x="973138" y="3252788"/>
            <a:ext cx="587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341D8B16-ECA4-180A-CE2F-B60E893783B8}"/>
              </a:ext>
            </a:extLst>
          </p:cNvPr>
          <p:cNvCxnSpPr/>
          <p:nvPr>
            <p:custDataLst>
              <p:tags r:id="rId25"/>
            </p:custDataLst>
          </p:nvPr>
        </p:nvCxnSpPr>
        <p:spPr bwMode="gray">
          <a:xfrm flipH="1">
            <a:off x="973138" y="4181475"/>
            <a:ext cx="587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4691DFD2-0875-0189-0A02-A95AB4D78943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 flipH="1">
            <a:off x="973138" y="4491038"/>
            <a:ext cx="587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9AAD39D5-54CA-AABE-ED1D-53B66F041576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 flipH="1">
            <a:off x="973138" y="4802188"/>
            <a:ext cx="587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77838" y="2525713"/>
            <a:ext cx="3778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02D1A4E-9776-4117-B5E5-1F8CA0DD65DD}" type="datetime'''''''''''''''9''''''''''''''''0''''''''''%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  <a:sym typeface="Arial" panose="020B0604020202020204" pitchFamily="34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0%</a:t>
            </a:fld>
            <a:endParaRPr lang="en-US" sz="1400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39" name="Rectangle 30">
            <a:extLst>
              <a:ext uri="{FF2B5EF4-FFF2-40B4-BE49-F238E27FC236}">
                <a16:creationId xmlns:a16="http://schemas.microsoft.com/office/drawing/2014/main" id="{7D0F724D-8D70-4608-1D8B-CCDA2DEA1BED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588962" y="5314950"/>
            <a:ext cx="2667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16B8E05-1C0B-472D-9645-A36C97E0B04E}" type="datetime'''0''''''''''''''''%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%</a:t>
            </a:fld>
            <a:endParaRPr lang="en-US" sz="1400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31" name="Rectangle 47">
            <a:extLst>
              <a:ext uri="{FF2B5EF4-FFF2-40B4-BE49-F238E27FC236}">
                <a16:creationId xmlns:a16="http://schemas.microsoft.com/office/drawing/2014/main" id="{F09B0C9C-624F-8A4F-225B-F3419E6E8A9D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476250" y="3765550"/>
            <a:ext cx="3794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27960C8-69AA-4B6A-A80F-F5818813ACD7}" type="datetime'5''''''''''''''''''''''0''''''''''''''''''''''%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50%</a:t>
            </a:fld>
            <a:endParaRPr lang="en-US" sz="1400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92125" y="3146425"/>
            <a:ext cx="3635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43B4377-0848-4B28-8DE2-6E9633143A84}" type="datetime'''''''''''''''7''''''''0''''''''''''''%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  <a:sym typeface="Arial" panose="020B0604020202020204" pitchFamily="34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0%</a:t>
            </a:fld>
            <a:endParaRPr lang="en-US" sz="1400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36" name="Rectangle 52">
            <a:extLst>
              <a:ext uri="{FF2B5EF4-FFF2-40B4-BE49-F238E27FC236}">
                <a16:creationId xmlns:a16="http://schemas.microsoft.com/office/drawing/2014/main" id="{50D1F1E6-280F-9F30-31B8-D37E2F76EF57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398462" y="2216150"/>
            <a:ext cx="4572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6FF219D-A3F7-48DA-9EE1-594539B1B98D}" type="datetime'''''''''''''''''''1''''''''''0''0''''%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00%</a:t>
            </a:fld>
            <a:endParaRPr lang="en-US" sz="1400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514351" y="5005388"/>
            <a:ext cx="3413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4BDB383-2418-4602-8B3B-3DECF64B7C89}" type="datetime'''''''''''''''''''''''''1''''''''''0''''''''''''''%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  <a:sym typeface="Arial" panose="020B0604020202020204" pitchFamily="34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en-US" sz="1400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77838" y="4695825"/>
            <a:ext cx="3778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91CF444-AD37-4983-B627-C405B735BCCE}" type="datetime'''''''20''%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  <a:sym typeface="Arial" panose="020B0604020202020204" pitchFamily="34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%</a:t>
            </a:fld>
            <a:endParaRPr lang="en-US" sz="1400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79425" y="4384675"/>
            <a:ext cx="376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6E95A70-BA86-4FB8-8429-82388230CE9F}" type="datetime'''''''''30''''''''''''''''''''''''''''''''''%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  <a:sym typeface="Arial" panose="020B0604020202020204" pitchFamily="34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%</a:t>
            </a:fld>
            <a:endParaRPr lang="en-US" sz="1400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74663" y="4075113"/>
            <a:ext cx="3810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473C7EA-6B03-4DA8-9D70-00DC8F9D57F5}" type="datetime'''''''''4''''''''''''''''''''0''''%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  <a:sym typeface="Arial" panose="020B0604020202020204" pitchFamily="34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%</a:t>
            </a:fld>
            <a:endParaRPr lang="en-US" sz="1400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477838" y="3455988"/>
            <a:ext cx="3778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9252ED0-91F3-49ED-B3FD-03A16A9D53FA}" type="datetime'''''''6''0''%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  <a:sym typeface="Arial" panose="020B0604020202020204" pitchFamily="34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%</a:t>
            </a:fld>
            <a:endParaRPr lang="en-US" sz="1400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474663" y="2835275"/>
            <a:ext cx="3810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BAD72C9-AB47-4C18-B866-1BF2A147C725}" type="datetime'''''''''''''''''''''''8''''''''''''0''''''%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  <a:sym typeface="Arial" panose="020B0604020202020204" pitchFamily="34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%</a:t>
            </a:fld>
            <a:endParaRPr lang="en-US" sz="1400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240588" y="5314950"/>
            <a:ext cx="987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bg2">
                    <a:lumMod val="10000"/>
                  </a:schemeClr>
                </a:solidFill>
                <a:effectLst/>
                <a:sym typeface="Arial" panose="020B0604020202020204" pitchFamily="34" charset="0"/>
              </a:rPr>
              <a:t>Market size</a:t>
            </a:r>
            <a:endParaRPr lang="en-US" sz="1400" dirty="0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43" name="Rectangle 71">
            <a:extLst>
              <a:ext uri="{FF2B5EF4-FFF2-40B4-BE49-F238E27FC236}">
                <a16:creationId xmlns:a16="http://schemas.microsoft.com/office/drawing/2014/main" id="{DC74425C-1EF3-3009-E39F-D8528B988AAC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398462" y="1860550"/>
            <a:ext cx="18684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  <a:sym typeface="Arial" panose="020B0604020202020204" pitchFamily="34" charset="0"/>
              </a:rPr>
              <a:t>R</a:t>
            </a: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t>evenue mix [USD m]</a:t>
            </a:r>
            <a:endParaRPr lang="en-US" altLang="en-US" sz="1400">
              <a:solidFill>
                <a:schemeClr val="bg2">
                  <a:lumMod val="10000"/>
                </a:schemeClr>
              </a:solidFill>
              <a:effectLst/>
              <a:sym typeface="Arial" panose="020B0604020202020204" pitchFamily="34" charset="0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D6FC5913-728A-2CAF-054A-AE7F81824933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1898650" y="2105025"/>
            <a:ext cx="260350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AF77688-B28D-4CC1-BE58-D897418EDB96}" type="datetime'''''''''''''''''''''7''''''''''''''''5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  <a:latin typeface="+mn-lt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5</a:t>
            </a:fld>
            <a:endParaRPr lang="en-US" sz="1400">
              <a:solidFill>
                <a:schemeClr val="bg2">
                  <a:lumMod val="10000"/>
                </a:schemeClr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D642DAEA-5EB0-6932-3B9C-2BC4D3C0A91C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3979863" y="2105025"/>
            <a:ext cx="276225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86A2C00-66D9-4BB1-A526-3BE0C1219C87}" type="datetime'8''''''''''''''''''''2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  <a:latin typeface="+mn-lt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2</a:t>
            </a:fld>
            <a:endParaRPr lang="en-US" sz="1400">
              <a:solidFill>
                <a:schemeClr val="bg2">
                  <a:lumMod val="10000"/>
                </a:schemeClr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431C89A4-CC74-1DCC-D9DB-32C5D4966A91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5334000" y="2105025"/>
            <a:ext cx="277813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A73C7EE-95D7-4CA9-A889-59DFCF73C71A}" type="datetime'''''''''''2''''''''''''''''''''0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  <a:latin typeface="+mn-lt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US" sz="1400">
              <a:solidFill>
                <a:schemeClr val="bg2">
                  <a:lumMod val="10000"/>
                </a:schemeClr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94ED6145-2B67-7713-8D54-D559A8DDA2DC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6294439" y="2105025"/>
            <a:ext cx="238125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C030F41-EAAF-4F64-90B4-9DB95ACB59F1}" type="datetime'''''''''''''5''''''''''''''''''''''''1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  <a:latin typeface="+mn-lt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1</a:t>
            </a:fld>
            <a:endParaRPr lang="en-US" sz="1400">
              <a:solidFill>
                <a:schemeClr val="bg2">
                  <a:lumMod val="10000"/>
                </a:schemeClr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8097AF52-DB3C-C1CF-C0FE-93108D7D880C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1817688" y="2784475"/>
            <a:ext cx="422275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4868983-D0EA-4365-B899-258237353BA6}" type="datetime'''''''''''''''''''''''36''''''%'''''''''''''">
              <a:rPr lang="en-US" altLang="en-US" sz="1400" smtClean="0">
                <a:solidFill>
                  <a:schemeClr val="bg1"/>
                </a:solidFill>
                <a:effectLst/>
                <a:latin typeface="+mn-lt"/>
                <a:cs typeface="+mn-cs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6%</a:t>
            </a:fld>
            <a:endParaRPr lang="en-US" sz="1400">
              <a:solidFill>
                <a:schemeClr val="bg1"/>
              </a:solidFill>
              <a:latin typeface="+mn-lt"/>
              <a:cs typeface="+mn-cs"/>
              <a:sym typeface="Arial" panose="020B0604020202020204" pitchFamily="34" charset="0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E626FAA2-BD59-3EB4-8ED5-717575900044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6218239" y="5113338"/>
            <a:ext cx="390525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3A951A3-EC29-4809-8279-C2FA9653A97A}" type="datetime'''''''1''''''''''4%''''''''''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  <a:latin typeface="+mn-lt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4%</a:t>
            </a:fld>
            <a:endParaRPr lang="en-US" sz="1400">
              <a:solidFill>
                <a:schemeClr val="bg2">
                  <a:lumMod val="10000"/>
                </a:schemeClr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4ADCEC93-3905-E50C-7B02-D30449BFDCE6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3906838" y="2832100"/>
            <a:ext cx="422275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A9F55C0-12CA-4576-A5C8-9B573FDD7636}" type="datetime'''''''3''9''''''%'''''''">
              <a:rPr lang="en-US" altLang="en-US" sz="1400" smtClean="0">
                <a:solidFill>
                  <a:schemeClr val="bg1"/>
                </a:solidFill>
                <a:effectLst/>
                <a:latin typeface="+mn-lt"/>
                <a:cs typeface="+mn-cs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9%</a:t>
            </a:fld>
            <a:endParaRPr lang="en-US" sz="1400">
              <a:solidFill>
                <a:schemeClr val="bg1"/>
              </a:solidFill>
              <a:latin typeface="+mn-lt"/>
              <a:cs typeface="+mn-cs"/>
              <a:sym typeface="Arial" panose="020B0604020202020204" pitchFamily="34" charset="0"/>
            </a:endParaRPr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9A21EBB9-6C12-6A8D-00DE-509D3172E44D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5278438" y="2462213"/>
            <a:ext cx="388938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5DDE854-965A-43BE-AF18-2ACBB7B9BBAF}" type="datetime'''''''''''''''15''''''''''%'''''''''''''''''''''''''''''''''">
              <a:rPr lang="en-US" altLang="en-US" sz="1400" smtClean="0">
                <a:solidFill>
                  <a:schemeClr val="bg1"/>
                </a:solidFill>
                <a:effectLst/>
                <a:latin typeface="+mn-lt"/>
                <a:cs typeface="+mn-cs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5%</a:t>
            </a:fld>
            <a:endParaRPr lang="en-US" sz="1400">
              <a:solidFill>
                <a:schemeClr val="bg1"/>
              </a:solidFill>
              <a:latin typeface="+mn-lt"/>
              <a:cs typeface="+mn-cs"/>
              <a:sym typeface="Arial" panose="020B0604020202020204" pitchFamily="34" charset="0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8FD99057-2972-EE89-181E-C2E9F369739A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6207125" y="4170363"/>
            <a:ext cx="412750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8810A22-E639-4402-AEC2-FC5081B43154}" type="datetime'''4''''''7''''''''''''''''''''''''''''''''%'''">
              <a:rPr lang="en-US" altLang="en-US" sz="14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7%</a:t>
            </a:fld>
            <a:endParaRPr lang="en-US" sz="1400">
              <a:solidFill>
                <a:schemeClr val="bg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50441F44-C006-B872-3BE7-3857DE92A886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5214937" y="5480050"/>
            <a:ext cx="514350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08A1E8B-58AC-4C1C-8D1C-D6CBCAA8A8A6}" type="datetime'''''''''''''''A''''''''fr''''i''c''''''''''''a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  <a:latin typeface="+mn-lt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frica</a:t>
            </a:fld>
            <a:endParaRPr lang="en-US" sz="1400">
              <a:solidFill>
                <a:schemeClr val="bg2">
                  <a:lumMod val="10000"/>
                </a:schemeClr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C19C0048-8C26-EB83-B14F-151C9604D27E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5316537" y="5184775"/>
            <a:ext cx="312738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D707520-D463-41DD-B1BD-3BE0614198F4}" type="datetime'''''''''''''''''''''''''''''''''9''%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  <a:latin typeface="+mn-lt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9%</a:t>
            </a:fld>
            <a:endParaRPr lang="en-US" sz="1400">
              <a:solidFill>
                <a:schemeClr val="bg2">
                  <a:lumMod val="10000"/>
                </a:schemeClr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F0F666B8-D857-4D10-A89C-C7CB7D93B8C4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5267325" y="3870325"/>
            <a:ext cx="409575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89E322E-C58E-4A1D-9558-E3923D68C7AC}" type="datetime'''''''''''''''''''''''''7''''6''''''''''%'''''''''''''''''">
              <a:rPr lang="en-US" altLang="en-US" sz="14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6%</a:t>
            </a:fld>
            <a:endParaRPr lang="en-US" sz="1400">
              <a:solidFill>
                <a:schemeClr val="bg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82E5EC0-8BD6-BA7B-1951-8355FD51ADDE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6108700" y="5480050"/>
            <a:ext cx="611188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BF071A3-0AD6-42F4-98A4-B8CFA2043148}" type="datetime'''''''''''''''''''''''Eu''''r''''''''''''''''''o''p''e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  <a:latin typeface="+mn-lt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Europe</a:t>
            </a:fld>
            <a:endParaRPr lang="en-US" sz="1400">
              <a:solidFill>
                <a:schemeClr val="bg2">
                  <a:lumMod val="10000"/>
                </a:schemeClr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CE43E2C6-9C2A-6DBD-294A-22F87F9E56DD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3757613" y="5480050"/>
            <a:ext cx="720725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607600B-AE3D-4F3E-A85A-2FDCD56A9EF2}" type="datetime'''''A''''''me''''''''''''''''''''''''r''''''''''''ic''a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  <a:latin typeface="+mn-lt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merica</a:t>
            </a:fld>
            <a:endParaRPr lang="en-US" sz="1400">
              <a:solidFill>
                <a:schemeClr val="bg2">
                  <a:lumMod val="10000"/>
                </a:schemeClr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2274F218-0809-2499-F0DC-BDD5DF3AE203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3922714" y="5175250"/>
            <a:ext cx="3921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C4C6E0D-61ED-4996-92F0-067BAC842424}" type="datetime'''''''''''''''10''''''''''''''''''''''''''%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  <a:latin typeface="+mn-lt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en-US" sz="1400">
              <a:solidFill>
                <a:schemeClr val="bg2">
                  <a:lumMod val="10000"/>
                </a:schemeClr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E31E4846-66F9-0A30-05E3-44FA6C9F0013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3924300" y="4230688"/>
            <a:ext cx="388938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3DCBFAF-CFD4-455E-BC10-2FF571AF2BD1}" type="datetime'''''''''''''''''''''''''''''''5''''''1%'''''''''''''''''''">
              <a:rPr lang="en-US" altLang="en-US" sz="14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1%</a:t>
            </a:fld>
            <a:endParaRPr lang="en-US" sz="1400">
              <a:solidFill>
                <a:schemeClr val="bg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EA8B62BF-4AD0-7538-9B2C-FEB619FE88F7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1843088" y="5480050"/>
            <a:ext cx="373063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D9754CA-6C3E-4EF0-A373-6C03DE8E2A26}" type="datetime'''''''''''''A''''''''s''''''i''''a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  <a:latin typeface="+mn-lt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sia</a:t>
            </a:fld>
            <a:endParaRPr lang="en-US" sz="1400">
              <a:solidFill>
                <a:schemeClr val="bg2">
                  <a:lumMod val="10000"/>
                </a:schemeClr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07E7D213-1BE7-064B-F63A-0FCCDD3F142E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1835150" y="5099050"/>
            <a:ext cx="388938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F894B3D-51B3-4542-80FE-A374E7171626}" type="datetime'''''''''''''1''''''''''''''''''''''''''''''''''''''''5''''''%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  <a:latin typeface="+mn-lt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5%</a:t>
            </a:fld>
            <a:endParaRPr lang="en-US" sz="1400">
              <a:solidFill>
                <a:schemeClr val="bg2">
                  <a:lumMod val="10000"/>
                </a:schemeClr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992EC984-27FE-561D-3982-FA6997846A62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1816100" y="4106863"/>
            <a:ext cx="427038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07B6392-FACB-464B-9B2A-7EBE9DDE4E21}" type="datetime'''''''4''''''''''''''''9''''''''''''''''''%'''''''''''">
              <a:rPr lang="en-US" altLang="en-US" sz="14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9%</a:t>
            </a:fld>
            <a:endParaRPr lang="en-US" sz="1400">
              <a:solidFill>
                <a:schemeClr val="bg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3C003C5C-5878-3C81-5F3D-218174EB9C5B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gray">
          <a:xfrm>
            <a:off x="6202363" y="2833688"/>
            <a:ext cx="422275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494B565-A330-4604-B635-68A3BA0F08CB}" type="datetime'''''''''''''''''''''''''3''9''''''''''''''%'''''''''''">
              <a:rPr lang="en-US" altLang="en-US" sz="1400" smtClean="0">
                <a:solidFill>
                  <a:schemeClr val="bg1"/>
                </a:solidFill>
                <a:effectLst/>
                <a:latin typeface="+mn-lt"/>
                <a:cs typeface="+mn-cs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9%</a:t>
            </a:fld>
            <a:endParaRPr lang="en-US" sz="1400">
              <a:solidFill>
                <a:schemeClr val="bg1"/>
              </a:solidFill>
              <a:latin typeface="+mn-lt"/>
              <a:cs typeface="+mn-cs"/>
              <a:sym typeface="Arial" panose="020B0604020202020204" pitchFamily="34" charset="0"/>
            </a:endParaRPr>
          </a:p>
        </p:txBody>
      </p:sp>
      <p:sp>
        <p:nvSpPr>
          <p:cNvPr id="65" name="Rectangle 67">
            <a:extLst>
              <a:ext uri="{FF2B5EF4-FFF2-40B4-BE49-F238E27FC236}">
                <a16:creationId xmlns:a16="http://schemas.microsoft.com/office/drawing/2014/main" id="{5B46906C-3C7D-1A27-4C1A-B3DB4F2053E8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3562350" y="5783263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tangle 68">
            <a:extLst>
              <a:ext uri="{FF2B5EF4-FFF2-40B4-BE49-F238E27FC236}">
                <a16:creationId xmlns:a16="http://schemas.microsoft.com/office/drawing/2014/main" id="{9724B440-047D-4D8F-FDE3-051F5CD0D6EE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4797425" y="5783263"/>
            <a:ext cx="250825" cy="187325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CDBE0A01-0D05-A878-00C5-D6D6D78D6943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2363788" y="5783263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2CBCF944-0F35-C080-4BB7-C4542D239EDE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3863974" y="5794375"/>
            <a:ext cx="831850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C2576DA-DA90-48D9-A078-A55CF9C03941}" type="datetime'P''''''''ro''''''''''''''''d''u''''''''''c''''''''t ''''2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  <a:latin typeface="+mn-lt"/>
                <a:cs typeface="+mn-cs"/>
              </a:rPr>
              <a:pPr>
                <a:spcBef>
                  <a:spcPct val="0"/>
                </a:spcBef>
                <a:spcAft>
                  <a:spcPct val="0"/>
                </a:spcAft>
              </a:pPr>
              <a:t>Product 2</a:t>
            </a:fld>
            <a:endParaRPr lang="en-US" sz="1400">
              <a:solidFill>
                <a:schemeClr val="bg2">
                  <a:lumMod val="10000"/>
                </a:schemeClr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09773D54-5164-B373-1427-D7F6AE998BE6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5099050" y="5794375"/>
            <a:ext cx="830263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A0ADE6B-BEA4-48AD-8172-7A61C556C5B6}" type="datetime'''''''P''''r''''o''du''''ct'''''''''''''' ''''''''''''3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  <a:latin typeface="+mn-lt"/>
                <a:cs typeface="+mn-cs"/>
              </a:rPr>
              <a:pPr>
                <a:spcBef>
                  <a:spcPct val="0"/>
                </a:spcBef>
                <a:spcAft>
                  <a:spcPct val="0"/>
                </a:spcAft>
              </a:pPr>
              <a:t>Product 3</a:t>
            </a:fld>
            <a:endParaRPr lang="en-US" sz="1400">
              <a:solidFill>
                <a:schemeClr val="bg2">
                  <a:lumMod val="10000"/>
                </a:schemeClr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A0BA64E9-2AC0-3CBB-5B6F-A3949228B25D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2665412" y="5794375"/>
            <a:ext cx="795338" cy="1920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52879" rtl="0" eaLnBrk="1" latinLnBrk="0" hangingPunct="1">
              <a:lnSpc>
                <a:spcPct val="90000"/>
              </a:lnSpc>
              <a:spcBef>
                <a:spcPts val="71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7338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0799" indent="-143462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38137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85475" indent="-147338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95415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21856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8294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4733" indent="-163220" algn="l" defTabSz="652879" rtl="0" eaLnBrk="1" latinLnBrk="0" hangingPunct="1">
              <a:lnSpc>
                <a:spcPct val="90000"/>
              </a:lnSpc>
              <a:spcBef>
                <a:spcPts val="357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BF9D724-E680-4A15-AE14-EF218DB4B527}" type="datetime'''P''ro''''''''''''du''c''t'''' 1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  <a:latin typeface="+mn-lt"/>
                <a:cs typeface="+mn-cs"/>
              </a:rPr>
              <a:pPr>
                <a:spcBef>
                  <a:spcPct val="0"/>
                </a:spcBef>
                <a:spcAft>
                  <a:spcPct val="0"/>
                </a:spcAft>
              </a:pPr>
              <a:t>Product 1</a:t>
            </a:fld>
            <a:endParaRPr lang="en-US" sz="1400">
              <a:solidFill>
                <a:schemeClr val="bg2">
                  <a:lumMod val="10000"/>
                </a:schemeClr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50F0F94F-E1A4-4C5E-502A-463123E0226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26105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think-cell, chart, charts, graph, graphs, </a:t>
            </a:r>
            <a:r>
              <a:rPr lang="en-US" err="1">
                <a:solidFill>
                  <a:schemeClr val="tx2"/>
                </a:solidFill>
              </a:rPr>
              <a:t>marimekko</a:t>
            </a:r>
            <a:r>
              <a:rPr lang="en-US">
                <a:solidFill>
                  <a:schemeClr val="tx2"/>
                </a:solidFill>
              </a:rPr>
              <a:t>, percent, percentage, comment</a:t>
            </a:r>
          </a:p>
        </p:txBody>
      </p:sp>
      <p:sp>
        <p:nvSpPr>
          <p:cNvPr id="4" name="Rechteck 137">
            <a:extLst>
              <a:ext uri="{FF2B5EF4-FFF2-40B4-BE49-F238E27FC236}">
                <a16:creationId xmlns:a16="http://schemas.microsoft.com/office/drawing/2014/main" id="{C7341BC3-D69E-A148-3CE0-5527A407EABE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63" name="tc_columnheader">
            <a:extLst>
              <a:ext uri="{FF2B5EF4-FFF2-40B4-BE49-F238E27FC236}">
                <a16:creationId xmlns:a16="http://schemas.microsoft.com/office/drawing/2014/main" id="{AD22CA19-D979-CE7E-8C1C-F08242C2955A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70" name="tc_columnhead">
              <a:extLst>
                <a:ext uri="{FF2B5EF4-FFF2-40B4-BE49-F238E27FC236}">
                  <a16:creationId xmlns:a16="http://schemas.microsoft.com/office/drawing/2014/main" id="{09EFEFDD-BB0A-B5A2-5338-F554C1DC47D7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a-DK" sz="1600" b="0">
                  <a:solidFill>
                    <a:schemeClr val="tx1"/>
                  </a:solidFill>
                </a:rPr>
                <a:t>Insert chart title here</a:t>
              </a:r>
              <a:endParaRPr lang="en-US" sz="1600" b="0">
                <a:solidFill>
                  <a:schemeClr val="tx1"/>
                </a:solidFill>
              </a:endParaRPr>
            </a:p>
          </p:txBody>
        </p:sp>
        <p:cxnSp>
          <p:nvCxnSpPr>
            <p:cNvPr id="71" name="tc_columnheadline">
              <a:extLst>
                <a:ext uri="{FF2B5EF4-FFF2-40B4-BE49-F238E27FC236}">
                  <a16:creationId xmlns:a16="http://schemas.microsoft.com/office/drawing/2014/main" id="{9BFFB5F3-FA8B-8E89-E2FC-DE1FB562E993}"/>
                </a:ext>
              </a:extLst>
            </p:cNvPr>
            <p:cNvCxnSpPr>
              <a:cxnSpLocks/>
              <a:stCxn id="70" idx="4"/>
              <a:endCxn id="70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2" name="tc_columnheader">
            <a:extLst>
              <a:ext uri="{FF2B5EF4-FFF2-40B4-BE49-F238E27FC236}">
                <a16:creationId xmlns:a16="http://schemas.microsoft.com/office/drawing/2014/main" id="{D20861FF-411E-DADE-FD14-16A23B9680EF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73" name="tc_columnhead">
              <a:extLst>
                <a:ext uri="{FF2B5EF4-FFF2-40B4-BE49-F238E27FC236}">
                  <a16:creationId xmlns:a16="http://schemas.microsoft.com/office/drawing/2014/main" id="{685F142C-E45C-1504-B1AB-9BF41EEE4372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0">
                  <a:solidFill>
                    <a:schemeClr val="tx1"/>
                  </a:solidFill>
                </a:rPr>
                <a:t>Comments</a:t>
              </a:r>
            </a:p>
          </p:txBody>
        </p:sp>
        <p:cxnSp>
          <p:nvCxnSpPr>
            <p:cNvPr id="74" name="tc_columnheadline">
              <a:extLst>
                <a:ext uri="{FF2B5EF4-FFF2-40B4-BE49-F238E27FC236}">
                  <a16:creationId xmlns:a16="http://schemas.microsoft.com/office/drawing/2014/main" id="{DC910113-FADF-195E-970B-E57561C875EC}"/>
                </a:ext>
              </a:extLst>
            </p:cNvPr>
            <p:cNvCxnSpPr>
              <a:cxnSpLocks/>
              <a:stCxn id="73" idx="4"/>
              <a:endCxn id="73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6" name="Rectangle 18">
            <a:extLst>
              <a:ext uri="{FF2B5EF4-FFF2-40B4-BE49-F238E27FC236}">
                <a16:creationId xmlns:a16="http://schemas.microsoft.com/office/drawing/2014/main" id="{A1DFC52D-3D53-A774-29AE-1E81725B849E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a </a:t>
            </a:r>
            <a:r>
              <a:rPr lang="en-US" sz="1200" b="1" u="sng">
                <a:solidFill>
                  <a:schemeClr val="tx1"/>
                </a:solidFill>
              </a:rPr>
              <a:t>think-cell chart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</a:t>
            </a:r>
            <a:r>
              <a:rPr lang="en-US" sz="1200" b="1">
                <a:solidFill>
                  <a:schemeClr val="tx1"/>
                </a:solidFill>
              </a:rPr>
              <a:t> open the chart's internal datasheet</a:t>
            </a:r>
            <a:r>
              <a:rPr lang="en-US" sz="1200">
                <a:solidFill>
                  <a:schemeClr val="tx1"/>
                </a:solidFill>
              </a:rPr>
              <a:t>, double-click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any empty space in the chart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 annotations </a:t>
            </a:r>
            <a:r>
              <a:rPr lang="en-US" sz="1200">
                <a:solidFill>
                  <a:schemeClr val="tx1"/>
                </a:solidFill>
              </a:rPr>
              <a:t>(e.g., total labels)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right-click the chart or a chart feature to open the context menu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change the style and formatting</a:t>
            </a:r>
            <a:r>
              <a:rPr lang="en-US" sz="1200">
                <a:solidFill>
                  <a:schemeClr val="tx1"/>
                </a:solidFill>
              </a:rPr>
              <a:t> of the chart or a feature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click the chart or feature to open the mini toolbar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1318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j8pLAMOCnPnaWwkmDWuQ"/>
</p:tagLst>
</file>

<file path=ppt/tags/tag1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IGUiXY8eLiFhty1ts5Lg"/>
</p:tagLst>
</file>

<file path=ppt/tags/tag1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gGcWFyb_vnvdI9lphy7g"/>
</p:tagLst>
</file>

<file path=ppt/tags/tag1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uiDjzeZ_E94nCf.MhZ1A"/>
</p:tagLst>
</file>

<file path=ppt/tags/tag1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zu3Etm0WmnjLfNJcW6GA"/>
</p:tagLst>
</file>

<file path=ppt/tags/tag1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G3kIDmJIu3FKESmtiJ1w"/>
</p:tagLst>
</file>

<file path=ppt/tags/tag1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tCqeXdRJ_Rc.uVBOxoPA"/>
</p:tagLst>
</file>

<file path=ppt/tags/tag1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_nGUqbV28XeGBgnqkMTQ"/>
</p:tagLst>
</file>

<file path=ppt/tags/tag1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tU5NtYOR9VeD1pR9jV5A"/>
</p:tagLst>
</file>

<file path=ppt/tags/tag1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7j.ltwVlLdoofQ_DU3LQ"/>
</p:tagLst>
</file>

<file path=ppt/tags/tag1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SR5R.E3v4HrwLobIWmdQ"/>
</p:tagLst>
</file>

<file path=ppt/tags/tag1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YVx.VEXQ7M6l1n3a0H2g"/>
</p:tagLst>
</file>

<file path=ppt/tags/tag1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bBtS3e40suQ3BsZvNNaw"/>
</p:tagLst>
</file>

<file path=ppt/tags/tag1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81BFMIe.A.5H_A2koS5w"/>
</p:tagLst>
</file>

<file path=ppt/tags/tag1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Ct69qVl0r27PBaj4Uxhg"/>
</p:tagLst>
</file>

<file path=ppt/tags/tag1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CKGD672GqIMxzcnqofGQ"/>
</p:tagLst>
</file>

<file path=ppt/tags/tag1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Ia_HgjNDc_.YYULBlTvQ"/>
</p:tagLst>
</file>

<file path=ppt/tags/tag1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6cv6pQPioHV2zuRJ0VwA"/>
</p:tagLst>
</file>

<file path=ppt/tags/tag1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hSqjZJvfjU9BoMPxShKA"/>
</p:tagLst>
</file>

<file path=ppt/tags/tag1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.DXqkT3B.kcJbKP5CbMg"/>
</p:tagLst>
</file>

<file path=ppt/tags/tag1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b3lu73lQKsUDdgLAVf6g"/>
</p:tagLst>
</file>

<file path=ppt/tags/tag1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xosh5h3zMoDZQesn3qLQ"/>
</p:tagLst>
</file>

<file path=ppt/tags/tag1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dcAxNKvZDSHVSWddnf0g"/>
</p:tagLst>
</file>

<file path=ppt/tags/tag1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DRiPQ7yjeW0jbA4zx7NA"/>
</p:tagLst>
</file>

<file path=ppt/tags/tag1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a8Q39gpHpSe8YCUTiL1Q"/>
</p:tagLst>
</file>

<file path=ppt/tags/tag1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S038P7GZPJ50ubkBvSGQ"/>
</p:tagLst>
</file>

<file path=ppt/tags/tag1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XExRO0Nc7gE17Y_zCnIw"/>
</p:tagLst>
</file>

<file path=ppt/tags/tag1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2E9pSfCiCEFqa.riCy9g"/>
</p:tagLst>
</file>

<file path=ppt/tags/tag1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xfK9cQt8qCpXsQoLKuGg"/>
</p:tagLst>
</file>

<file path=ppt/tags/tag1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bFw.SGieyL7mMhNl.hXw"/>
</p:tagLst>
</file>

<file path=ppt/tags/tag1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DiRjfvnA.yWRPVz1bzCg"/>
</p:tagLst>
</file>

<file path=ppt/tags/tag1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ZO7JNW0XBw7chrvYgIUg"/>
</p:tagLst>
</file>

<file path=ppt/tags/tag1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qu4cZdb6IBo_1MMIp.uA"/>
</p:tagLst>
</file>

<file path=ppt/tags/tag1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pmSpMqhgG.DTKEqBAYgw"/>
</p:tagLst>
</file>

<file path=ppt/tags/tag1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FanEIHXVjb74bYrFZJuQ"/>
</p:tagLst>
</file>

<file path=ppt/tags/tag1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0dPc_mdfvAxT7saIuS6w"/>
</p:tagLst>
</file>

<file path=ppt/tags/tag1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yZh_4vr8TxNHnUeMDTKA"/>
</p:tagLst>
</file>

<file path=ppt/tags/tag1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U.OOi_P6C6DG09TebrbA"/>
</p:tagLst>
</file>

<file path=ppt/tags/tag1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3rHYYzdBETV.WFx3p59sA"/>
</p:tagLst>
</file>

<file path=ppt/tags/tag1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L8QfCKIr2Xg0_LWTAcqw"/>
</p:tagLst>
</file>

<file path=ppt/tags/tag1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cTxzulrBR8V7qcVKgsEA"/>
</p:tagLst>
</file>

<file path=ppt/tags/tag1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M5eG8_ickIxEjndOQBag"/>
</p:tagLst>
</file>

<file path=ppt/tags/tag1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duHLaP5RP0SnhKJ7HZ3A"/>
</p:tagLst>
</file>

<file path=ppt/tags/tag1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2pt8FrC6SHPOzVdDk04g"/>
</p:tagLst>
</file>

<file path=ppt/tags/tag1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v_Xz24Jx8Mbo5hk5kMdw"/>
</p:tagLst>
</file>

<file path=ppt/tags/tag1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sXJzYbHy_.NZiYLmeG_w"/>
</p:tagLst>
</file>

<file path=ppt/tags/tag1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UCVXa5MXabKlj6GBJR_g"/>
</p:tagLst>
</file>

<file path=ppt/tags/tag1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cf7xQdYE9p9xNc.raL7Q"/>
</p:tagLst>
</file>

<file path=ppt/tags/tag1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MPyvWIq49ntNgpDdX5UQ"/>
</p:tagLst>
</file>

<file path=ppt/tags/tag1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O9K4.IbpNu12nhIoB0kw"/>
</p:tagLst>
</file>

<file path=ppt/tags/tag1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tMpZxOHql66c5KScTEZw"/>
</p:tagLst>
</file>

<file path=ppt/tags/tag1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fXkneexXRrOS8kEioW4A"/>
</p:tagLst>
</file>

<file path=ppt/tags/tag1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fjvGk8zGgDhTx4gmV4yg"/>
</p:tagLst>
</file>

<file path=ppt/tags/tag1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m81KOBzmhdW66eou.SrQ"/>
</p:tagLst>
</file>

<file path=ppt/tags/tag1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LSRyhwFxe_9yiSuSni_A"/>
</p:tagLst>
</file>

<file path=ppt/tags/tag1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9d6MxtiNGBgwY2ITmtpA"/>
</p:tagLst>
</file>

<file path=ppt/tags/tag1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YWUxs3ZloUMLFICNeIAA"/>
</p:tagLst>
</file>

<file path=ppt/tags/tag1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nD9q.xGXrHn8ujauFFag"/>
</p:tagLst>
</file>

<file path=ppt/tags/tag1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pgUXP7GEOInfiJpzTYbw"/>
</p:tagLst>
</file>

<file path=ppt/tags/tag1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QUDGp7x6bGl20DBweUJQ"/>
</p:tagLst>
</file>

<file path=ppt/tags/tag1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iOJMAlVd6JaNspUJZWNg"/>
</p:tagLst>
</file>

<file path=ppt/tags/tag1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wwgS5gLmpFwiZs.7J_Qg"/>
</p:tagLst>
</file>

<file path=ppt/tags/tag1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gwI1IWbulVwt9WqVFoSw"/>
</p:tagLst>
</file>

<file path=ppt/tags/tag1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Vb6esxuDRyfcpVsSIv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